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0"/>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id="{44E357AC-6578-4628-A181-C39778C850EE}">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notesMaster" Target="notesMasters/notesMaster1.xml"/><Relationship Id="rId31" Type="http://schemas.openxmlformats.org/officeDocument/2006/relationships/presProps" Target="presProps.xml"/><Relationship Id="rId32" Type="http://schemas.openxmlformats.org/officeDocument/2006/relationships/viewProps" Target="viewProps.xml"/><Relationship Id="rId33" Type="http://schemas.openxmlformats.org/officeDocument/2006/relationships/theme" Target="theme/theme1.xml"/><Relationship Id="rId34" Type="http://schemas.openxmlformats.org/officeDocument/2006/relationships/tableStyles" Target="tableStyles.xml"/><Relationship Id="rId35" Type="http://schemas.microsoft.com/office/2015/10/relationships/revisionInfo" Target="revisionInfo.xml"/><Relationship Id="rId36"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5.077124960226398e-06</c:v>
                </c:pt>
                <c:pt idx="1">
                  <c:v/>
                </c:pt>
                <c:pt idx="2">
                  <c:v>3.3327598999892167e-06</c:v>
                </c:pt>
                <c:pt idx="3">
                  <c:v>0.019553750379766335</c:v>
                </c:pt>
                <c:pt idx="4">
                  <c:v>0.000901078956297813</c:v>
                </c:pt>
                <c:pt idx="5">
                  <c:v>0.019619564662850957</c:v>
                </c:pt>
                <c:pt idx="6">
                  <c:v>0.0001607780761024599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1852628303944447</c:v>
                </c:pt>
                <c:pt idx="4">
                  <c:v>0.06857874750025944</c:v>
                </c:pt>
                <c:pt idx="5">
                  <c:v>0.01525140965576692</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2450492937243365</c:v>
                </c:pt>
                <c:pt idx="1">
                  <c:v>0.0022320532191512643</c:v>
                </c:pt>
                <c:pt idx="2">
                  <c:v>0.005522170881564549</c:v>
                </c:pt>
                <c:pt idx="3">
                  <c:v>0.03205456820303794</c:v>
                </c:pt>
                <c:pt idx="4">
                  <c:v>0.8468481130844218</c:v>
                </c:pt>
                <c:pt idx="5">
                  <c:v>0.11209804531810014</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1525140965576692</c:v>
                </c:pt>
                <c:pt idx="2">
                  <c:v>0.06857874750025944</c:v>
                </c:pt>
                <c:pt idx="3">
                  <c:v>0.01852628303944447</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4876835877361912e-07</c:v>
                </c:pt>
                <c:pt idx="1">
                  <c:v/>
                </c:pt>
                <c:pt idx="2">
                  <c:v/>
                </c:pt>
                <c:pt idx="3">
                  <c:v/>
                </c:pt>
                <c:pt idx="4">
                  <c:v/>
                </c:pt>
                <c:pt idx="5">
                  <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8.765991781950135e-07</c:v>
                </c:pt>
                <c:pt idx="1">
                  <c:v/>
                </c:pt>
                <c:pt idx="2">
                  <c:v/>
                </c:pt>
                <c:pt idx="3">
                  <c:v/>
                </c:pt>
                <c:pt idx="4">
                  <c:v/>
                </c:pt>
                <c:pt idx="5">
                  <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2450492937243365</c:v>
                </c:pt>
                <c:pt idx="1">
                  <c:v>0.0022320532191512643</c:v>
                </c:pt>
                <c:pt idx="2">
                  <c:v>0.005522170881564549</c:v>
                </c:pt>
                <c:pt idx="3">
                  <c:v>0.03205456820303794</c:v>
                </c:pt>
                <c:pt idx="4">
                  <c:v>0.8468481130844218</c:v>
                </c:pt>
                <c:pt idx="5">
                  <c:v>0.11209804531810014</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8.765991781950135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0.002414596290795131</c:v>
                </c:pt>
                <c:pt idx="5">
                  <c:v>0.004785952485926713</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0.004784849183471466</c:v>
                </c:pt>
                <c:pt idx="5">
                  <c:v>0.005561246332528188</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2450492937243365</c:v>
                </c:pt>
                <c:pt idx="1">
                  <c:v>0.0022320532191512643</c:v>
                </c:pt>
                <c:pt idx="2">
                  <c:v>0.005522170881564549</c:v>
                </c:pt>
                <c:pt idx="3">
                  <c:v>0.03205456820303794</c:v>
                </c:pt>
                <c:pt idx="4">
                  <c:v>0.8468481130844218</c:v>
                </c:pt>
                <c:pt idx="5">
                  <c:v>0.11209804531810014</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5561246332528188</c:v>
                </c:pt>
                <c:pt idx="2">
                  <c:v>0.004784849183471466</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5.077124960226398e-06</c:v>
                </c:pt>
                <c:pt idx="1">
                  <c:v/>
                </c:pt>
                <c:pt idx="2">
                  <c:v>3.3327598999892167e-06</c:v>
                </c:pt>
                <c:pt idx="3">
                  <c:v>0.019553750379766335</c:v>
                </c:pt>
                <c:pt idx="4">
                  <c:v>0.000901078956297813</c:v>
                </c:pt>
                <c:pt idx="5">
                  <c:v>0.019619564662850957</c:v>
                </c:pt>
                <c:pt idx="6">
                  <c:v>0.0001607780761024599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104760517529091</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13750855203300237</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13750855203300237</c:v>
                </c:pt>
                <c:pt idx="2">
                  <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8823766639674804</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104760517529091</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16144620862610648</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2450492937243365</c:v>
                </c:pt>
                <c:pt idx="1">
                  <c:v>0.0022320532191512643</c:v>
                </c:pt>
                <c:pt idx="2">
                  <c:v>0.005522170881564549</c:v>
                </c:pt>
                <c:pt idx="3">
                  <c:v>0.03205456820303794</c:v>
                </c:pt>
                <c:pt idx="4">
                  <c:v>0.8468481130844218</c:v>
                </c:pt>
                <c:pt idx="5">
                  <c:v>0.11209804531810014</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16144620862610648</c:v>
                </c:pt>
                <c:pt idx="2">
                  <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2414783924569317</c:v>
                </c:pt>
                <c:pt idx="4">
                  <c:v>0.0077763110176387465</c:v>
                </c:pt>
                <c:pt idx="5">
                  <c:v>0.008858402243312618</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10003110540656611</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4761945193792437</c:v>
                </c:pt>
                <c:pt idx="4">
                  <c:v>0.010976288069047125</c:v>
                </c:pt>
                <c:pt idx="5">
                  <c:v>0.013680726883525278</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13680726883525278</c:v>
                </c:pt>
                <c:pt idx="2">
                  <c:v>0.010976288069047125</c:v>
                </c:pt>
                <c:pt idx="3">
                  <c:v>0.004761945193792437</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2450492937243365</c:v>
                </c:pt>
                <c:pt idx="1">
                  <c:v>0.0022320532191512643</c:v>
                </c:pt>
                <c:pt idx="2">
                  <c:v>0.005522170881564549</c:v>
                </c:pt>
                <c:pt idx="3">
                  <c:v>0.03205456820303794</c:v>
                </c:pt>
                <c:pt idx="4">
                  <c:v>0.8468481130844218</c:v>
                </c:pt>
                <c:pt idx="5">
                  <c:v>0.11209804531810014</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9128423267046278e-08</c:v>
                </c:pt>
                <c:pt idx="1">
                  <c:v>0.008284955656441361</c:v>
                </c:pt>
                <c:pt idx="2">
                  <c:v>0.005847414793852957</c:v>
                </c:pt>
                <c:pt idx="3">
                  <c:v>0.004309183508410163</c:v>
                </c:pt>
                <c:pt idx="4">
                  <c:v>0.006619122337927038</c:v>
                </c:pt>
                <c:pt idx="5">
                  <c:v>0.0012542588064146836</c:v>
                </c:pt>
                <c:pt idx="6">
                  <c:v>1.32147976431802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9065229916332547</c:v>
                </c:pt>
                <c:pt idx="2">
                  <c:v>0.007960934501247807</c:v>
                </c:pt>
                <c:pt idx="3">
                  <c:v>0.0030146749635464654</c:v>
                </c:pt>
                <c:pt idx="4">
                  <c:v>0.01004452642804176</c:v>
                </c:pt>
                <c:pt idx="5">
                  <c:v>0.0006342235347164381</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06342235347164381</c:v>
                </c:pt>
                <c:pt idx="2">
                  <c:v>0.01004452642804176</c:v>
                </c:pt>
                <c:pt idx="3">
                  <c:v>0.0030146749635464654</c:v>
                </c:pt>
                <c:pt idx="4">
                  <c:v>0.007960934501247807</c:v>
                </c:pt>
                <c:pt idx="5">
                  <c:v>0.009065229916332547</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10003110540656611</c:v>
                </c:pt>
                <c:pt idx="2">
                  <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5147288752478511</c:v>
                </c:pt>
                <c:pt idx="3">
                  <c:v>0.00266835618906598</c:v>
                </c:pt>
                <c:pt idx="4">
                  <c:v>0.009195002164708484</c:v>
                </c:pt>
                <c:pt idx="5">
                  <c:v>0.004540858142517581</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6291676615909819</c:v>
                </c:pt>
                <c:pt idx="3">
                  <c:v>0.004299897130109869</c:v>
                </c:pt>
                <c:pt idx="4">
                  <c:v>0.009654437559331727</c:v>
                </c:pt>
                <c:pt idx="5">
                  <c:v>0.00552477780650958</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552477780650958</c:v>
                </c:pt>
                <c:pt idx="2">
                  <c:v>0.009654437559331727</c:v>
                </c:pt>
                <c:pt idx="3">
                  <c:v>0.004299897130109869</c:v>
                </c:pt>
                <c:pt idx="4">
                  <c:v>0.006291676615909819</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2414783924569317</c:v>
                </c:pt>
                <c:pt idx="4">
                  <c:v>0.0077763110176387465</c:v>
                </c:pt>
                <c:pt idx="5">
                  <c:v>0.008858402243312618</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23569573067529505</c:v>
                </c:pt>
                <c:pt idx="4">
                  <c:v>0.008897944805083643</c:v>
                </c:pt>
                <c:pt idx="5">
                  <c:v>0.01189177999327482</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2450492937243365</c:v>
                </c:pt>
                <c:pt idx="1">
                  <c:v>0.0022320532191512643</c:v>
                </c:pt>
                <c:pt idx="2">
                  <c:v>0.005522170881564549</c:v>
                </c:pt>
                <c:pt idx="3">
                  <c:v>0.03205456820303794</c:v>
                </c:pt>
                <c:pt idx="4">
                  <c:v>0.8468481130844218</c:v>
                </c:pt>
                <c:pt idx="5">
                  <c:v>0.11209804531810014</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1189177999327482</c:v>
                </c:pt>
                <c:pt idx="2">
                  <c:v>0.008897944805083643</c:v>
                </c:pt>
                <c:pt idx="3">
                  <c:v>0.0023569573067529505</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8823766639674804</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9128423267046278e-08</c:v>
                </c:pt>
                <c:pt idx="1">
                  <c:v>0.008284955656441361</c:v>
                </c:pt>
                <c:pt idx="2">
                  <c:v>0.005847414793852957</c:v>
                </c:pt>
                <c:pt idx="3">
                  <c:v>0.004309183508410163</c:v>
                </c:pt>
                <c:pt idx="4">
                  <c:v>0.006619122337927038</c:v>
                </c:pt>
                <c:pt idx="5">
                  <c:v>0.0012542588064146836</c:v>
                </c:pt>
                <c:pt idx="6">
                  <c:v>1.32147976431802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1152300943159527e-07</c:v>
                </c:pt>
                <c:pt idx="1">
                  <c:v>0.009611683486752821</c:v>
                </c:pt>
                <c:pt idx="2">
                  <c:v>0.008070268211894027</c:v>
                </c:pt>
                <c:pt idx="3">
                  <c:v>0.0008946847644719398</c:v>
                </c:pt>
                <c:pt idx="4">
                  <c:v>0.008742820588310812</c:v>
                </c:pt>
                <c:pt idx="5">
                  <c:v>0.0015639815268826257</c:v>
                </c:pt>
                <c:pt idx="6">
                  <c:v>3.151811820397546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2450492937243365</c:v>
                </c:pt>
                <c:pt idx="1">
                  <c:v>0.0022320532191512643</c:v>
                </c:pt>
                <c:pt idx="2">
                  <c:v>0.005522170881564549</c:v>
                </c:pt>
                <c:pt idx="3">
                  <c:v>0.03205456820303794</c:v>
                </c:pt>
                <c:pt idx="4">
                  <c:v>0.8468481130844218</c:v>
                </c:pt>
                <c:pt idx="5">
                  <c:v>0.11209804531810014</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151811820397546e-05</c:v>
                </c:pt>
                <c:pt idx="1">
                  <c:v>0.0015639815268826257</c:v>
                </c:pt>
                <c:pt idx="2">
                  <c:v>0.008742820588310812</c:v>
                </c:pt>
                <c:pt idx="3">
                  <c:v>0.0008946847644719398</c:v>
                </c:pt>
                <c:pt idx="4">
                  <c:v>0.008070268211894027</c:v>
                </c:pt>
                <c:pt idx="5">
                  <c:v>0.009611683486752821</c:v>
                </c:pt>
                <c:pt idx="6">
                  <c:v>1.1152300943159527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5147288752478511</c:v>
                </c:pt>
                <c:pt idx="3">
                  <c:v>0.00266835618906598</c:v>
                </c:pt>
                <c:pt idx="4">
                  <c:v>0.009195002164708484</c:v>
                </c:pt>
                <c:pt idx="5">
                  <c:v>0.004540858142517581</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8123258798760101</c:v>
                </c:pt>
                <c:pt idx="3">
                  <c:v>0.0019586700359540744</c:v>
                </c:pt>
                <c:pt idx="4">
                  <c:v>0.008880963282224425</c:v>
                </c:pt>
                <c:pt idx="5">
                  <c:v>0.006051217045025777</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2450492937243365</c:v>
                </c:pt>
                <c:pt idx="1">
                  <c:v>0.0022320532191512643</c:v>
                </c:pt>
                <c:pt idx="2">
                  <c:v>0.005522170881564549</c:v>
                </c:pt>
                <c:pt idx="3">
                  <c:v>0.03205456820303794</c:v>
                </c:pt>
                <c:pt idx="4">
                  <c:v>0.8468481130844218</c:v>
                </c:pt>
                <c:pt idx="5">
                  <c:v>0.11209804531810014</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6051217045025777</c:v>
                </c:pt>
                <c:pt idx="2">
                  <c:v>0.008880963282224425</c:v>
                </c:pt>
                <c:pt idx="3">
                  <c:v>0.0019586700359540744</c:v>
                </c:pt>
                <c:pt idx="4">
                  <c:v>0.008123258798760101</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2522680506827396</c:v>
                </c:pt>
                <c:pt idx="4">
                  <c:v>0.008085576483263678</c:v>
                </c:pt>
                <c:pt idx="5">
                  <c:v>0.005544473851815854</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5048931682507652</c:v>
                </c:pt>
                <c:pt idx="4">
                  <c:v>0.01163779219054959</c:v>
                </c:pt>
                <c:pt idx="5">
                  <c:v>0.007724262589574622</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7724262589574622</c:v>
                </c:pt>
                <c:pt idx="2">
                  <c:v>0.01163779219054959</c:v>
                </c:pt>
                <c:pt idx="3">
                  <c:v>0.005048931682507652</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9983113193337842e-08</c:v>
                </c:pt>
                <c:pt idx="1">
                  <c:v>0.008655141324150406</c:v>
                </c:pt>
                <c:pt idx="2">
                  <c:v>0.006108687061273151</c:v>
                </c:pt>
                <c:pt idx="3">
                  <c:v>0.004501725030717696</c:v>
                </c:pt>
                <c:pt idx="4">
                  <c:v>0.006914875788388577</c:v>
                </c:pt>
                <c:pt idx="5">
                  <c:v>0.0013103011864812057</c:v>
                </c:pt>
                <c:pt idx="6">
                  <c:v>1.3805256891489781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9611560963249213</c:v>
                </c:pt>
                <c:pt idx="2">
                  <c:v>0.00844071336186619</c:v>
                </c:pt>
                <c:pt idx="3">
                  <c:v>0.003196359327224923</c:v>
                </c:pt>
                <c:pt idx="4">
                  <c:v>0.010649876395981047</c:v>
                </c:pt>
                <c:pt idx="5">
                  <c:v>0.0006724460630912065</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06724460630912065</c:v>
                </c:pt>
                <c:pt idx="2">
                  <c:v>0.010649876395981047</c:v>
                </c:pt>
                <c:pt idx="3">
                  <c:v>0.003196359327224923</c:v>
                </c:pt>
                <c:pt idx="4">
                  <c:v>0.00844071336186619</c:v>
                </c:pt>
                <c:pt idx="5">
                  <c:v>0.009611560963249213</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5377278218052303</c:v>
                </c:pt>
                <c:pt idx="3">
                  <c:v>0.0027875828039684958</c:v>
                </c:pt>
                <c:pt idx="4">
                  <c:v>0.00960585023162388</c:v>
                </c:pt>
                <c:pt idx="5">
                  <c:v>0.004743751274740084</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6670854894249806</c:v>
                </c:pt>
                <c:pt idx="3">
                  <c:v>0.00455903752946085</c:v>
                </c:pt>
                <c:pt idx="4">
                  <c:v>0.010236278177590988</c:v>
                </c:pt>
                <c:pt idx="5">
                  <c:v>0.005857737662009136</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5857737662009136</c:v>
                </c:pt>
                <c:pt idx="2">
                  <c:v>0.010236278177590988</c:v>
                </c:pt>
                <c:pt idx="3">
                  <c:v>0.00455903752946085</c:v>
                </c:pt>
                <c:pt idx="4">
                  <c:v>0.006670854894249806</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8209817276612301</c:v>
                </c:pt>
                <c:pt idx="2">
                  <c:v>0.05794383094949777</c:v>
                </c:pt>
                <c:pt idx="3">
                  <c:v>0.04270102422085179</c:v>
                </c:pt>
                <c:pt idx="4">
                  <c:v>0.06559091826119108</c:v>
                </c:pt>
                <c:pt idx="5">
                  <c:v>0.012428836128097474</c:v>
                </c:pt>
                <c:pt idx="6">
                  <c:v>0.000130949492666948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2522680506827396</c:v>
                </c:pt>
                <c:pt idx="4">
                  <c:v>0.008085576483263678</c:v>
                </c:pt>
                <c:pt idx="5">
                  <c:v>0.005544473851815854</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2476399280447082</c:v>
                </c:pt>
                <c:pt idx="4">
                  <c:v>0.009166887961390938</c:v>
                </c:pt>
                <c:pt idx="5">
                  <c:v>0.007849336338458905</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2450492937243365</c:v>
                </c:pt>
                <c:pt idx="1">
                  <c:v>0.0022320532191512643</c:v>
                </c:pt>
                <c:pt idx="2">
                  <c:v>0.005522170881564549</c:v>
                </c:pt>
                <c:pt idx="3">
                  <c:v>0.03205456820303794</c:v>
                </c:pt>
                <c:pt idx="4">
                  <c:v>0.8468481130844218</c:v>
                </c:pt>
                <c:pt idx="5">
                  <c:v>0.11209804531810014</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7849336338458905</c:v>
                </c:pt>
                <c:pt idx="2">
                  <c:v>0.009166887961390938</c:v>
                </c:pt>
                <c:pt idx="3">
                  <c:v>0.002476399280447082</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9983113193337842e-08</c:v>
                </c:pt>
                <c:pt idx="1">
                  <c:v>0.008655141324150406</c:v>
                </c:pt>
                <c:pt idx="2">
                  <c:v>0.006108687061273151</c:v>
                </c:pt>
                <c:pt idx="3">
                  <c:v>0.004501725030717696</c:v>
                </c:pt>
                <c:pt idx="4">
                  <c:v>0.006914875788388577</c:v>
                </c:pt>
                <c:pt idx="5">
                  <c:v>0.0013103011864812057</c:v>
                </c:pt>
                <c:pt idx="6">
                  <c:v>1.3805256891489781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8551731978846905</c:v>
                </c:pt>
                <c:pt idx="2">
                  <c:v>0.07509989132561243</c:v>
                </c:pt>
                <c:pt idx="3">
                  <c:v>0.028439093690432658</c:v>
                </c:pt>
                <c:pt idx="4">
                  <c:v>0.09475556456907686</c:v>
                </c:pt>
                <c:pt idx="5">
                  <c:v>0.005982980832951795</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1717458755761993e-07</c:v>
                </c:pt>
                <c:pt idx="1">
                  <c:v>0.010098768442806877</c:v>
                </c:pt>
                <c:pt idx="2">
                  <c:v>0.008479239880879232</c:v>
                </c:pt>
                <c:pt idx="3">
                  <c:v>0.0009400241152511937</c:v>
                </c:pt>
                <c:pt idx="4">
                  <c:v>0.009185874751290178</c:v>
                </c:pt>
                <c:pt idx="5">
                  <c:v>0.0016432383890484376</c:v>
                </c:pt>
                <c:pt idx="6">
                  <c:v>3.311534112974581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2450492937243365</c:v>
                </c:pt>
                <c:pt idx="1">
                  <c:v>0.0022320532191512643</c:v>
                </c:pt>
                <c:pt idx="2">
                  <c:v>0.005522170881564549</c:v>
                </c:pt>
                <c:pt idx="3">
                  <c:v>0.03205456820303794</c:v>
                </c:pt>
                <c:pt idx="4">
                  <c:v>0.8468481130844218</c:v>
                </c:pt>
                <c:pt idx="5">
                  <c:v>0.11209804531810014</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311534112974581e-05</c:v>
                </c:pt>
                <c:pt idx="1">
                  <c:v>0.0016432383890484376</c:v>
                </c:pt>
                <c:pt idx="2">
                  <c:v>0.009185874751290178</c:v>
                </c:pt>
                <c:pt idx="3">
                  <c:v>0.0009400241152511937</c:v>
                </c:pt>
                <c:pt idx="4">
                  <c:v>0.008479239880879232</c:v>
                </c:pt>
                <c:pt idx="5">
                  <c:v>0.010098768442806877</c:v>
                </c:pt>
                <c:pt idx="6">
                  <c:v>1.1717458755761993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5377278218052303</c:v>
                </c:pt>
                <c:pt idx="3">
                  <c:v>0.0027875828039684958</c:v>
                </c:pt>
                <c:pt idx="4">
                  <c:v>0.00960585023162388</c:v>
                </c:pt>
                <c:pt idx="5">
                  <c:v>0.004743751274740084</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8534915836828727</c:v>
                </c:pt>
                <c:pt idx="3">
                  <c:v>0.0020579282678446667</c:v>
                </c:pt>
                <c:pt idx="4">
                  <c:v>0.009331018011554821</c:v>
                </c:pt>
                <c:pt idx="5">
                  <c:v>0.0063578705873019266</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2450492937243365</c:v>
                </c:pt>
                <c:pt idx="1">
                  <c:v>0.0022320532191512643</c:v>
                </c:pt>
                <c:pt idx="2">
                  <c:v>0.005522170881564549</c:v>
                </c:pt>
                <c:pt idx="3">
                  <c:v>0.03205456820303794</c:v>
                </c:pt>
                <c:pt idx="4">
                  <c:v>0.8468481130844218</c:v>
                </c:pt>
                <c:pt idx="5">
                  <c:v>0.11209804531810014</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63578705873019266</c:v>
                </c:pt>
                <c:pt idx="2">
                  <c:v>0.009331018011554821</c:v>
                </c:pt>
                <c:pt idx="3">
                  <c:v>0.0020579282678446667</c:v>
                </c:pt>
                <c:pt idx="4">
                  <c:v>0.008534915836828727</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5982980832951795</c:v>
                </c:pt>
                <c:pt idx="2">
                  <c:v>0.09475556456907686</c:v>
                </c:pt>
                <c:pt idx="3">
                  <c:v>0.028439093690432658</c:v>
                </c:pt>
                <c:pt idx="4">
                  <c:v>0.07509989132561243</c:v>
                </c:pt>
                <c:pt idx="5">
                  <c:v>0.08551731978846905</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51006066755415164</c:v>
                </c:pt>
                <c:pt idx="3">
                  <c:v>0.026441561849660927</c:v>
                </c:pt>
                <c:pt idx="4">
                  <c:v>0.08803960684853453</c:v>
                </c:pt>
                <c:pt idx="5">
                  <c:v>0.038898859553271804</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11759484104560203</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5935285989812673</c:v>
                </c:pt>
                <c:pt idx="3">
                  <c:v>0.04056330411108755</c:v>
                </c:pt>
                <c:pt idx="4">
                  <c:v>0.09103779430939526</c:v>
                </c:pt>
                <c:pt idx="5">
                  <c:v>0.04323960295438646</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4323960295438646</c:v>
                </c:pt>
                <c:pt idx="2">
                  <c:v>0.09103779430939526</c:v>
                </c:pt>
                <c:pt idx="3">
                  <c:v>0.04056330411108755</c:v>
                </c:pt>
                <c:pt idx="4">
                  <c:v>0.05935285989812673</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8209817276612301</c:v>
                </c:pt>
                <c:pt idx="2">
                  <c:v>0.05794383094949777</c:v>
                </c:pt>
                <c:pt idx="3">
                  <c:v>0.04270102422085179</c:v>
                </c:pt>
                <c:pt idx="4">
                  <c:v>0.06559091826119108</c:v>
                </c:pt>
                <c:pt idx="5">
                  <c:v>0.012428836128097474</c:v>
                </c:pt>
                <c:pt idx="6">
                  <c:v>0.000130949492666948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9266040284708145</c:v>
                </c:pt>
                <c:pt idx="2">
                  <c:v>0.07780055435957021</c:v>
                </c:pt>
                <c:pt idx="3">
                  <c:v>0.00862511242815835</c:v>
                </c:pt>
                <c:pt idx="4">
                  <c:v>0.08428422334642685</c:v>
                </c:pt>
                <c:pt idx="5">
                  <c:v>0.015077396017676884</c:v>
                </c:pt>
                <c:pt idx="6">
                  <c:v>0.000303847035099253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2450492937243365</c:v>
                </c:pt>
                <c:pt idx="1">
                  <c:v>0.0022320532191512643</c:v>
                </c:pt>
                <c:pt idx="2">
                  <c:v>0.005522170881564549</c:v>
                </c:pt>
                <c:pt idx="3">
                  <c:v>0.03205456820303794</c:v>
                </c:pt>
                <c:pt idx="4">
                  <c:v>0.8468481130844218</c:v>
                </c:pt>
                <c:pt idx="5">
                  <c:v>0.11209804531810014</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3038470350992533</c:v>
                </c:pt>
                <c:pt idx="1">
                  <c:v>0.015077396017676884</c:v>
                </c:pt>
                <c:pt idx="2">
                  <c:v>0.08428422334642685</c:v>
                </c:pt>
                <c:pt idx="3">
                  <c:v>0.00862511242815835</c:v>
                </c:pt>
                <c:pt idx="4">
                  <c:v>0.07780055435957021</c:v>
                </c:pt>
                <c:pt idx="5">
                  <c:v>0.09266040284708145</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11759484104560203</c:v>
                </c:pt>
                <c:pt idx="2">
                  <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51006066755415164</c:v>
                </c:pt>
                <c:pt idx="3">
                  <c:v>0.026441561849660927</c:v>
                </c:pt>
                <c:pt idx="4">
                  <c:v>0.08803960684853453</c:v>
                </c:pt>
                <c:pt idx="5">
                  <c:v>0.038898859553271804</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7831140442375314</c:v>
                </c:pt>
                <c:pt idx="3">
                  <c:v>0.01888234821986699</c:v>
                </c:pt>
                <c:pt idx="4">
                  <c:v>0.07974748276914807</c:v>
                </c:pt>
                <c:pt idx="5">
                  <c:v>0.05151538746637596</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2450492937243365</c:v>
                </c:pt>
                <c:pt idx="1">
                  <c:v>0.0022320532191512643</c:v>
                </c:pt>
                <c:pt idx="2">
                  <c:v>0.005522170881564549</c:v>
                </c:pt>
                <c:pt idx="3">
                  <c:v>0.03205456820303794</c:v>
                </c:pt>
                <c:pt idx="4">
                  <c:v>0.8468481130844218</c:v>
                </c:pt>
                <c:pt idx="5">
                  <c:v>0.11209804531810014</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5151538746637596</c:v>
                </c:pt>
                <c:pt idx="2">
                  <c:v>0.07974748276914807</c:v>
                </c:pt>
                <c:pt idx="3">
                  <c:v>0.01888234821986699</c:v>
                </c:pt>
                <c:pt idx="4">
                  <c:v>0.07831140442375314</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1878060916134092</c:v>
                </c:pt>
                <c:pt idx="4">
                  <c:v>0.060194721989301196</c:v>
                </c:pt>
                <c:pt idx="5">
                  <c:v>0.014280515076797716</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340814542241074</c:v>
                </c:pt>
                <c:pt idx="4">
                  <c:v>0.0785577834586375</c:v>
                </c:pt>
                <c:pt idx="5">
                  <c:v>0.022139668694685408</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22139668694685408</c:v>
                </c:pt>
                <c:pt idx="2">
                  <c:v>0.0785577834586375</c:v>
                </c:pt>
                <c:pt idx="3">
                  <c:v>0.0340814542241074</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0.002414596290795131</c:v>
                </c:pt>
                <c:pt idx="5">
                  <c:v>0.004785952485926713</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2.8713407016313334e-05</c:v>
                </c:pt>
                <c:pt idx="5">
                  <c:v>0.0067360720354495175</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67360720354495175</c:v>
                </c:pt>
                <c:pt idx="2">
                  <c:v>2.8713407016313334e-05</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151010614671805e-05</c:v>
                </c:pt>
                <c:pt idx="1">
                  <c:v>4.684403716382194e-05</c:v>
                </c:pt>
                <c:pt idx="2">
                  <c:v>0.00016658355256400848</c:v>
                </c:pt>
                <c:pt idx="3">
                  <c:v>0.0010096989721111482</c:v>
                </c:pt>
                <c:pt idx="4">
                  <c:v>0.026643302445351364</c:v>
                </c:pt>
                <c:pt idx="5">
                  <c:v>0.0021065911831421908</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1878060916134092</c:v>
                </c:pt>
                <c:pt idx="4">
                  <c:v>0.060194721989301196</c:v>
                </c:pt>
                <c:pt idx="5">
                  <c:v>0.014280515076797716</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404454330225276e-05</c:v>
                </c:pt>
                <c:pt idx="1">
                  <c:v>6.1033111584698814e-05</c:v>
                </c:pt>
                <c:pt idx="2">
                  <c:v>0.0001509978654238634</c:v>
                </c:pt>
                <c:pt idx="3">
                  <c:v>0.0008764979352415567</c:v>
                </c:pt>
                <c:pt idx="4">
                  <c:v>0.023156157271566582</c:v>
                </c:pt>
                <c:pt idx="5">
                  <c:v>0.003065201335534363</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Aperitif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34461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400157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331849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alad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1290428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alad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900846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306135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662968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698119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493708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0521261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747050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Aperitif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88223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801416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7815208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820114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1029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229182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391106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317893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396087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724515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684800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254198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789680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288097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2875</Words>
  <Application>Microsoft Office PowerPoint</Application>
  <PresentationFormat>On-screen Show (16:9)</PresentationFormat>
  <Paragraphs>1075</Paragraphs>
  <Slides>25</Slides>
  <Notes>2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6"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3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